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302" r:id="rId2"/>
    <p:sldId id="507" r:id="rId3"/>
    <p:sldId id="333" r:id="rId4"/>
    <p:sldId id="521" r:id="rId5"/>
    <p:sldId id="505" r:id="rId6"/>
    <p:sldId id="299" r:id="rId7"/>
    <p:sldId id="512" r:id="rId8"/>
    <p:sldId id="511" r:id="rId9"/>
    <p:sldId id="288" r:id="rId10"/>
    <p:sldId id="516" r:id="rId11"/>
    <p:sldId id="520" r:id="rId12"/>
    <p:sldId id="518" r:id="rId13"/>
    <p:sldId id="513" r:id="rId14"/>
    <p:sldId id="276" r:id="rId15"/>
    <p:sldId id="292" r:id="rId16"/>
    <p:sldId id="517" r:id="rId17"/>
    <p:sldId id="312" r:id="rId18"/>
    <p:sldId id="322" r:id="rId19"/>
    <p:sldId id="321" r:id="rId20"/>
    <p:sldId id="323" r:id="rId21"/>
    <p:sldId id="522" r:id="rId22"/>
    <p:sldId id="308" r:id="rId23"/>
    <p:sldId id="275" r:id="rId24"/>
    <p:sldId id="300" r:id="rId25"/>
    <p:sldId id="301" r:id="rId26"/>
  </p:sldIdLst>
  <p:sldSz cx="12192000" cy="6858000"/>
  <p:notesSz cx="7086600" cy="93726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22" autoAdjust="0"/>
    <p:restoredTop sz="93073" autoAdjust="0"/>
  </p:normalViewPr>
  <p:slideViewPr>
    <p:cSldViewPr showGuides="1">
      <p:cViewPr>
        <p:scale>
          <a:sx n="135" d="100"/>
          <a:sy n="135" d="100"/>
        </p:scale>
        <p:origin x="416" y="91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6-09</a:t>
            </a:fld>
            <a:endParaRPr lang="en-CA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unsplash.co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8"/>
            <a:ext cx="10368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</a:t>
            </a:r>
            <a:r>
              <a:rPr lang="en-US" sz="4000" b="1" i="1" dirty="0">
                <a:solidFill>
                  <a:schemeClr val="bg1"/>
                </a:solidFill>
              </a:rPr>
              <a:t>into</a:t>
            </a:r>
            <a:r>
              <a:rPr lang="en-US" sz="3600" b="1" i="1" dirty="0">
                <a:solidFill>
                  <a:schemeClr val="bg1"/>
                </a:solidFill>
              </a:rPr>
              <a:t>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2001589" y="5722308"/>
            <a:ext cx="8136967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Create a new soccer club based on merging two existing sports club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13480D54-DCA5-0941-857E-55180BF5B8E8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FA8DB41A-AF66-D747-B40B-97C3164EE9F6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B4P">
              <a:extLst>
                <a:ext uri="{FF2B5EF4-FFF2-40B4-BE49-F238E27FC236}">
                  <a16:creationId xmlns:a16="http://schemas.microsoft.com/office/drawing/2014/main" id="{190B3AE9-FD2E-834D-9B3F-3753DD2BEDAE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6" name="Triangle">
              <a:extLst>
                <a:ext uri="{FF2B5EF4-FFF2-40B4-BE49-F238E27FC236}">
                  <a16:creationId xmlns:a16="http://schemas.microsoft.com/office/drawing/2014/main" id="{0880BFCD-135D-5B48-A3D0-178B6AE4C60F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7" name="Right Arrow 26">
            <a:extLst>
              <a:ext uri="{FF2B5EF4-FFF2-40B4-BE49-F238E27FC236}">
                <a16:creationId xmlns:a16="http://schemas.microsoft.com/office/drawing/2014/main" id="{F4D82F05-6933-7843-BFE2-77BA393EE9F8}"/>
              </a:ext>
            </a:extLst>
          </p:cNvPr>
          <p:cNvSpPr/>
          <p:nvPr/>
        </p:nvSpPr>
        <p:spPr>
          <a:xfrm>
            <a:off x="4800000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C43AC9FC-7AED-0E4F-A7A1-6ED96D602C13}"/>
              </a:ext>
            </a:extLst>
          </p:cNvPr>
          <p:cNvSpPr/>
          <p:nvPr/>
        </p:nvSpPr>
        <p:spPr>
          <a:xfrm>
            <a:off x="6587974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175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6710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5013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28417" y="479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67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175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50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7297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8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5 Statements)</a:t>
            </a:r>
          </a:p>
        </p:txBody>
      </p:sp>
      <p:sp>
        <p:nvSpPr>
          <p:cNvPr id="30" name="Rechteck 17">
            <a:extLst>
              <a:ext uri="{FF2B5EF4-FFF2-40B4-BE49-F238E27FC236}">
                <a16:creationId xmlns:a16="http://schemas.microsoft.com/office/drawing/2014/main" id="{B9627141-9C51-654B-B75A-693A85EF1FEB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ain English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36" name="Rechteck 19">
            <a:extLst>
              <a:ext uri="{FF2B5EF4-FFF2-40B4-BE49-F238E27FC236}">
                <a16:creationId xmlns:a16="http://schemas.microsoft.com/office/drawing/2014/main" id="{D4963825-3E3C-714F-A9D5-2049DB7CF13B}"/>
              </a:ext>
            </a:extLst>
          </p:cNvPr>
          <p:cNvSpPr/>
          <p:nvPr/>
        </p:nvSpPr>
        <p:spPr>
          <a:xfrm>
            <a:off x="9047995" y="238669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business logic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minimal loops or variables needed for coding</a:t>
            </a:r>
          </a:p>
        </p:txBody>
      </p:sp>
      <p:sp>
        <p:nvSpPr>
          <p:cNvPr id="38" name="Rechteck 20">
            <a:extLst>
              <a:ext uri="{FF2B5EF4-FFF2-40B4-BE49-F238E27FC236}">
                <a16:creationId xmlns:a16="http://schemas.microsoft.com/office/drawing/2014/main" id="{A354CB80-9004-794F-BA2A-8C426A9AC9A1}"/>
              </a:ext>
            </a:extLst>
          </p:cNvPr>
          <p:cNvSpPr/>
          <p:nvPr/>
        </p:nvSpPr>
        <p:spPr>
          <a:xfrm>
            <a:off x="9097408" y="5805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39" name="Rechteck 29">
            <a:extLst>
              <a:ext uri="{FF2B5EF4-FFF2-40B4-BE49-F238E27FC236}">
                <a16:creationId xmlns:a16="http://schemas.microsoft.com/office/drawing/2014/main" id="{5366C8EF-5BB8-4D42-B076-30E4DFD68E9A}"/>
              </a:ext>
            </a:extLst>
          </p:cNvPr>
          <p:cNvSpPr/>
          <p:nvPr/>
        </p:nvSpPr>
        <p:spPr>
          <a:xfrm>
            <a:off x="9028417" y="3084745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640000" y="5429461"/>
            <a:ext cx="7329040" cy="1474447"/>
          </a:xfrm>
          <a:prstGeom prst="rect">
            <a:avLst/>
          </a:prstGeom>
          <a:solidFill>
            <a:schemeClr val="bg1">
              <a:lumMod val="95000"/>
              <a:alpha val="55198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Import the real-time online  S&amp;P 500 and NASDAQ 100 stock  information merge them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2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3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8191699" y="1240164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768000" y="1290730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2059520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154121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188305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421011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926519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69F72D45-0468-424F-A43E-1375439EC878}"/>
              </a:ext>
            </a:extLst>
          </p:cNvPr>
          <p:cNvGrpSpPr/>
          <p:nvPr/>
        </p:nvGrpSpPr>
        <p:grpSpPr>
          <a:xfrm>
            <a:off x="5277616" y="2828284"/>
            <a:ext cx="1134143" cy="909223"/>
            <a:chOff x="4944000" y="2349000"/>
            <a:chExt cx="1440000" cy="1152000"/>
          </a:xfrm>
        </p:grpSpPr>
        <p:sp>
          <p:nvSpPr>
            <p:cNvPr id="30" name="Rechteck: abgerundete Ecken 14">
              <a:extLst>
                <a:ext uri="{FF2B5EF4-FFF2-40B4-BE49-F238E27FC236}">
                  <a16:creationId xmlns:a16="http://schemas.microsoft.com/office/drawing/2014/main" id="{CF20F827-09AD-F94E-92F1-3B3776BC994B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B4P">
              <a:extLst>
                <a:ext uri="{FF2B5EF4-FFF2-40B4-BE49-F238E27FC236}">
                  <a16:creationId xmlns:a16="http://schemas.microsoft.com/office/drawing/2014/main" id="{00AC4607-B39C-1441-8A1B-F5DBC4CDE9AA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2" name="Triangle">
              <a:extLst>
                <a:ext uri="{FF2B5EF4-FFF2-40B4-BE49-F238E27FC236}">
                  <a16:creationId xmlns:a16="http://schemas.microsoft.com/office/drawing/2014/main" id="{68BE7B62-E641-ED4B-BA24-4D5C783AA73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3" name="Right Arrow 26">
            <a:extLst>
              <a:ext uri="{FF2B5EF4-FFF2-40B4-BE49-F238E27FC236}">
                <a16:creationId xmlns:a16="http://schemas.microsoft.com/office/drawing/2014/main" id="{26EE6159-A4E8-0D40-B715-0DD11B77DDBA}"/>
              </a:ext>
            </a:extLst>
          </p:cNvPr>
          <p:cNvSpPr/>
          <p:nvPr/>
        </p:nvSpPr>
        <p:spPr>
          <a:xfrm>
            <a:off x="4800000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ight Arrow 27">
            <a:extLst>
              <a:ext uri="{FF2B5EF4-FFF2-40B4-BE49-F238E27FC236}">
                <a16:creationId xmlns:a16="http://schemas.microsoft.com/office/drawing/2014/main" id="{735164F0-F498-2F4F-8CCE-FA25D9D0C1AA}"/>
              </a:ext>
            </a:extLst>
          </p:cNvPr>
          <p:cNvSpPr/>
          <p:nvPr/>
        </p:nvSpPr>
        <p:spPr>
          <a:xfrm>
            <a:off x="6587974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3568B6B1-AA3B-A345-97CC-01AA8FA0E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www.slickcharts.com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Chg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Chg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Chg, '% Chg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Chg', '% Chg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Chg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Chg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SP500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B6DF0-4111-D640-966F-CBE854CB829F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12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6 Statements)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76B24BC0-0A60-CB4F-8FE0-5B7296FC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912E6F3-2C84-9541-AA7A-D16356F83044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47A161-0A91-4341-81F6-626BA65A985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1F84A62F-8A96-8547-9879-A1FE4B6F7796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6388E003-D684-9143-AB42-531DDA2D8D1C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D0EC3AE8-239B-1442-85F2-8EC0C9651BD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EB746A52-3127-C14D-A079-4827711C2BDC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B4P">
              <a:extLst>
                <a:ext uri="{FF2B5EF4-FFF2-40B4-BE49-F238E27FC236}">
                  <a16:creationId xmlns:a16="http://schemas.microsoft.com/office/drawing/2014/main" id="{0D042601-788B-8B49-A0C3-412FEF1B89DF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8" name="Triangle">
              <a:extLst>
                <a:ext uri="{FF2B5EF4-FFF2-40B4-BE49-F238E27FC236}">
                  <a16:creationId xmlns:a16="http://schemas.microsoft.com/office/drawing/2014/main" id="{9CE508DE-C6BA-DC43-AE5E-DDE6AFCDD81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9" name="Right Arrow 26">
            <a:extLst>
              <a:ext uri="{FF2B5EF4-FFF2-40B4-BE49-F238E27FC236}">
                <a16:creationId xmlns:a16="http://schemas.microsoft.com/office/drawing/2014/main" id="{4F6D1C26-C4AB-4E4F-ABF8-FC68C901B247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ight Arrow 27">
            <a:extLst>
              <a:ext uri="{FF2B5EF4-FFF2-40B4-BE49-F238E27FC236}">
                <a16:creationId xmlns:a16="http://schemas.microsoft.com/office/drawing/2014/main" id="{58C59F10-A84E-0F4C-A6B0-D03591E56608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232904"/>
            <a:ext cx="4739637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705818" y="5209625"/>
            <a:ext cx="6624000" cy="1671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 Download the list of Presidents and generate Excel table with one president per row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509DD55-F89D-8245-95D2-E98A8A003A6A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en.wikipedia.org/wiki/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azur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ocre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autofilter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BAC324-D9D9-7D4C-8FA5-2E2922652BD5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9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7 Statements)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trategic and Operational Use Case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B4P online documentation created with B4P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KPI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KPI'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generates the correct conclusions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giving your business the critical competitive advantage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048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tegrate corporate data from 20 branch offices worldwide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2061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99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966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550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87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206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78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858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87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5013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84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110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73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845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565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77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9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21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50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35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21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85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845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565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21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71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93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22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7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93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4005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93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65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725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725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869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43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612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7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15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72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51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7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7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23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9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602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357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77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445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201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165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125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664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44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400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8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16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565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B4P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93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206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355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437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620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914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731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609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81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Xchg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Data Integration and Analytics Engin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992000" y="1411722"/>
            <a:ext cx="194175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56875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584762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800762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016762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32762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 dirty="0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584762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800762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016762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23276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92000" y="5517000"/>
            <a:ext cx="7516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686983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rgbClr val="A6A6A6"/>
                  </a:solidFill>
                </a:rPr>
                <a:t>X</a:t>
              </a:r>
              <a:endParaRPr lang="en-US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916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916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2060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806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268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2096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988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564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589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268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996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3068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953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924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500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932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4004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4004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4148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788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508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436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5012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5156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5156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372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996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788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Xchg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4076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4180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4110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3145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356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4004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356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4209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5084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233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988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772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2060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2132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2132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276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564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852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708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924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356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644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716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708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572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940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4148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5012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6165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772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772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3068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860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5156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: abgerundete Ecken 14">
            <a:extLst>
              <a:ext uri="{FF2B5EF4-FFF2-40B4-BE49-F238E27FC236}">
                <a16:creationId xmlns:a16="http://schemas.microsoft.com/office/drawing/2014/main" id="{7ECECA5C-2E2C-0F4D-8CD3-3000FA991110}"/>
              </a:ext>
            </a:extLst>
          </p:cNvPr>
          <p:cNvSpPr/>
          <p:nvPr/>
        </p:nvSpPr>
        <p:spPr>
          <a:xfrm>
            <a:off x="690039" y="4363879"/>
            <a:ext cx="10656000" cy="717944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3212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509000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661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661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988832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1268832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 MS MD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mrich5 (at) gmail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zur Bonsen MS MBA</a:t>
            </a: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bluewin .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B4P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B4P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B4PDOCU.STA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B4PDOCU.STOP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function__sqrt(int bias, Token_List&amp; p, Token_Entry&amp; ret_val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Docu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Docu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B4P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B4P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volving ToC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ToC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B4P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style.css, PDF, etc.) are moved to the staging area, ready for one-mouseclick publication on the Internet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B4P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14851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able of Content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485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997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941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6093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36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421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557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equate for only simple, small tasks.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997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5013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100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urrent analytics automation tools are 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plex, expensive, and unreliabl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Integration and Analytics Engine </a:t>
            </a:r>
            <a:br>
              <a:rPr lang="en-US" dirty="0">
                <a:solidFill>
                  <a:srgbClr val="3264C8"/>
                </a:solidFill>
              </a:rPr>
            </a:b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16705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70141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581000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581000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49300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75661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421727" y="1665866"/>
            <a:ext cx="4176000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1197000"/>
            <a:ext cx="0" cy="566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ain Components</a:t>
            </a:r>
            <a:endParaRPr lang="de-CH" dirty="0">
              <a:solidFill>
                <a:srgbClr val="3264C8"/>
              </a:solidFill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5B2388F-6F63-444D-965A-13035E1633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000" y="2556398"/>
            <a:ext cx="2447997" cy="1485817"/>
          </a:xfrm>
          <a:prstGeom prst="rect">
            <a:avLst/>
          </a:prstGeom>
          <a:effectLst>
            <a:outerShdw blurRad="66189" dist="92771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390144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435857"/>
            <a:ext cx="5976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435857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Efficienc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443986"/>
            <a:ext cx="7129" cy="39918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219857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390143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374715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Performanc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376462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691857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673640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601813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427640" y="2016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and Scalabi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extremely large data (tens of millions of rows) in second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Efficiency and Simplicit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ingle statements replace need for 10-50 lines of code in other languag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661000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311857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2195857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238330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645042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396749" y="1328224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Provides Highest Efficiency and Performanc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to solve complex problems with minimal, simple, clear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a rich library to create Excel and HTML files with rich formatting, auto filters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s run under Windows, LINUX and MacOS (incl. M1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B4P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Key Feature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66</TotalTime>
  <Words>5135</Words>
  <Application>Microsoft Macintosh PowerPoint</Application>
  <PresentationFormat>Widescreen</PresentationFormat>
  <Paragraphs>796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B4P Data Integration and Analytics Engine</vt:lpstr>
      <vt:lpstr>Table of Contents B4P</vt:lpstr>
      <vt:lpstr>Problem Statement Current analytics automation tools are  complex, expensive, and unreliable</vt:lpstr>
      <vt:lpstr>Solution  B4P Integration and Analytics Engine  </vt:lpstr>
      <vt:lpstr>B4P Integration and Analytics Engine Main Components</vt:lpstr>
      <vt:lpstr>B4P Language Provides Highest Efficiency and Performance</vt:lpstr>
      <vt:lpstr>B4P Language Key Features</vt:lpstr>
      <vt:lpstr>B4P  Examples</vt:lpstr>
      <vt:lpstr>B4P Example #1 Merging Two Soccer Clubs</vt:lpstr>
      <vt:lpstr>PowerPoint Presentation</vt:lpstr>
      <vt:lpstr>B4P Example #2 Combining Stock Data:  S&amp;P 500 and NASDAQ 100</vt:lpstr>
      <vt:lpstr>B4P Example #2 Combining Stock Data:  S&amp;P 500 and NASDAQ 100</vt:lpstr>
      <vt:lpstr>PowerPoint Presentation</vt:lpstr>
      <vt:lpstr>PowerPoint Presentation</vt:lpstr>
      <vt:lpstr>B4P  Real-World  Use Cases</vt:lpstr>
      <vt:lpstr>Strategic and Operational Use Cases B4P</vt:lpstr>
      <vt:lpstr>B4P Real-world Use Case #1 Integrate corporate data from 20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91</cp:revision>
  <cp:lastPrinted>2012-05-04T14:30:29Z</cp:lastPrinted>
  <dcterms:created xsi:type="dcterms:W3CDTF">2016-02-06T20:40:56Z</dcterms:created>
  <dcterms:modified xsi:type="dcterms:W3CDTF">2021-06-09T17:18:06Z</dcterms:modified>
</cp:coreProperties>
</file>